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57" r:id="rId3"/>
    <p:sldId id="258" r:id="rId4"/>
    <p:sldId id="259" r:id="rId5"/>
    <p:sldId id="260" r:id="rId6"/>
    <p:sldId id="262" r:id="rId7"/>
    <p:sldId id="263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79" d="100"/>
          <a:sy n="79" d="100"/>
        </p:scale>
        <p:origin x="850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CE138-9A52-4307-AC2F-96FF30AA8A93}" type="datetimeFigureOut">
              <a:rPr lang="en-US" smtClean="0"/>
              <a:t>6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D0F478-19A5-4636-BCDD-52E159D9738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695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9648A-026C-7F5F-75A6-345411F4BA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7085EA-6448-FA3F-5705-A2C3F817FC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A76957-E782-5324-353F-F20A8CAF4A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F9107-F85B-432C-8D70-9C799B6F8094}" type="datetime1">
              <a:rPr lang="en-US" smtClean="0"/>
              <a:t>6/2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18085B-AB97-71BB-0D18-9782C3E02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D9C59D-29C7-2C0B-7FA3-075A55354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49245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20B0B-333C-CAE2-4115-BA246C0C6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84F43E5-06CF-C186-268E-142CB4078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6401C5-0DE3-9E4E-A457-3659AB1470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CBE4-F5BF-4013-9CA7-84EDB063BA99}" type="datetime1">
              <a:rPr lang="en-US" smtClean="0"/>
              <a:t>6/2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3FBFC9-8B29-69C5-28C6-2AE928AB3F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70F060-7DCC-2E9F-8605-343662E4BE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221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D882D4E-FDFB-FF7A-E700-C77C6B1103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B49799-3B1A-DE69-33F3-2ADE6B6A8A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F3FFBF-DC4A-0021-4F02-58543DA93E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037B2-8FD9-44DC-BA95-47C088D52137}" type="datetime1">
              <a:rPr lang="en-US" smtClean="0"/>
              <a:t>6/2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E77289-DB19-8EC9-92C6-146A129D68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F75CDA-B8AD-952E-AD53-863065CB06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89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B0137-A52F-FD54-BAEF-6D5FCD110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E7E8E4-440C-79D6-ABF4-27DA953CDB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8659C5-57BF-4E00-9D27-2D2EBBEF93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C8C06C-852A-4E99-8DDA-56ACC05B2271}" type="datetime1">
              <a:rPr lang="en-US" smtClean="0"/>
              <a:t>6/2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CA4E2C-2373-2812-9362-50D1DDF17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864D73-8FDE-3C4C-33C4-0C8772CBB8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930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31C973-DF37-BE7F-4904-30D434C53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968BD9-8392-EF17-81A7-6CB7E286C3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218549-59AC-17D3-9113-0AD1943134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9B4D40-CCCA-4541-985B-4BCD9A55F9DF}" type="datetime1">
              <a:rPr lang="en-US" smtClean="0"/>
              <a:t>6/2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634B6D-065B-97F3-AA2D-D68ECDF70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4A66A0-D136-DADE-3A76-C0EDBC2EA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63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5324E7-5F01-3522-3B4F-6BC7B446B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7CD1A6-948C-0A0B-825A-B14BAD8E7F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E49E7-B76E-CD58-3377-7F9EC00ACD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412354-AB5E-D803-C4BF-C734D4A27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B949B-9D5D-423E-A37A-0D0B319462F8}" type="datetime1">
              <a:rPr lang="en-US" smtClean="0"/>
              <a:t>6/2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092B3E-91C7-BA8C-D3E9-861B29B6DB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6B0213-E678-632E-0927-B47932EE0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3831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5E9B6-E578-03F9-1657-E2ACD4977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189D70-A1B5-1EF0-8669-E3B5E258FC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36F80F-7EA1-B94A-F9EE-1F16C5CE13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DB1B53-DE24-6FA8-1CFE-9A9A011EB49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BB2E2F9-8B89-3CA0-0807-BF6AB67333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B823E1B-02BB-4F71-E010-73504A6147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3C3E-EAC5-441F-A9EC-FD8CBB40520B}" type="datetime1">
              <a:rPr lang="en-US" smtClean="0"/>
              <a:t>6/23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95767E-73CB-E595-EB63-28F9D17648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6B3837-D508-0529-9A55-0F46FEFEF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9194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952362-6CD6-B7B7-F77F-72AA446D2A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870978-7A54-1563-A85B-F9F3576A35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0FF204-0076-465E-84CE-74542D4B58FE}" type="datetime1">
              <a:rPr lang="en-US" smtClean="0"/>
              <a:t>6/2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E9E301-2BB1-BD9F-ED52-0023A15D1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AE1EA0-A04B-2312-48FE-B2C003707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714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CA894BE-3317-19DC-7469-28FF59E32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3FD02E-9D9A-43C3-9505-DB0D7CEC702B}" type="datetime1">
              <a:rPr lang="en-US" smtClean="0"/>
              <a:t>6/23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9BEF6-6657-EEA8-D91F-BEAE43E81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85CCA6-4CA8-8E94-3869-B481B9C873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2020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AAB6E8-424E-CB7C-C4AD-6642390CA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FA8CAE-3F53-A5B9-D9B9-13B5F241BD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3A27A6-A219-23E9-9F96-987C100A60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E822FB-235F-5681-24E4-0B4835EEB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60AB6-069F-4F5F-A197-6ABCE28BECFA}" type="datetime1">
              <a:rPr lang="en-US" smtClean="0"/>
              <a:t>6/2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BE1B03-7336-65BA-BA44-08E3F4117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14F1B1-F39C-4645-650C-218035BBD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571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33010-4E88-1BA6-FB0A-18154CA03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68A02D-EF8A-45F2-E715-7A46E195B6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61E568-5DF1-BFC6-E0CB-64B39F3CE3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D952F8-CD62-78D2-940A-891669A90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10DFD-216C-4AF2-86EE-AF751D214186}" type="datetime1">
              <a:rPr lang="en-US" smtClean="0"/>
              <a:t>6/2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16C2F3-48D9-E32B-F8E5-C21AED91E2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2A7D6E-F5F2-D73E-3E8C-D0AC850C4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4572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9C3D752-750D-9468-DC78-CD2300909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4FCAAA-E2AD-04A0-E0DE-1720465A19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726FAB-1B99-ECC1-A2FC-B930043A79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2DDCAB-A550-47FC-871E-805EA3F0F693}" type="datetime1">
              <a:rPr lang="en-US" smtClean="0"/>
              <a:t>6/2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5A333-4902-597F-F83E-2E9FDBF56E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39195E-8594-9EB0-183C-C8F55A55CB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32860E-5423-43FF-AEBC-E6E98DB19F5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25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ideo" Target="https://www.youtube.com/embed/aPymw0M-1Fs?feature=oembed" TargetMode="External"/><Relationship Id="rId4" Type="http://schemas.openxmlformats.org/officeDocument/2006/relationships/image" Target="../media/image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34CD82-F0EA-8C7F-BE8E-4CB44AD124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999" y="858982"/>
            <a:ext cx="9144000" cy="1833563"/>
          </a:xfrm>
        </p:spPr>
        <p:txBody>
          <a:bodyPr/>
          <a:lstStyle/>
          <a:p>
            <a:r>
              <a:rPr lang="pt-PT" b="1" dirty="0">
                <a:latin typeface="Quicksand" pitchFamily="2" charset="0"/>
              </a:rPr>
              <a:t>SISTEMA DE GESTÃO DE TORNEIOS E-SPORTS</a:t>
            </a:r>
            <a:endParaRPr lang="en-US" b="1" dirty="0">
              <a:latin typeface="Quicksand" pitchFamily="2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17851E2-5AF5-B03A-A6B6-AA2A6B102EC9}"/>
              </a:ext>
            </a:extLst>
          </p:cNvPr>
          <p:cNvSpPr txBox="1">
            <a:spLocks/>
          </p:cNvSpPr>
          <p:nvPr/>
        </p:nvSpPr>
        <p:spPr>
          <a:xfrm>
            <a:off x="3487881" y="4331710"/>
            <a:ext cx="5216237" cy="791875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2800" dirty="0">
                <a:latin typeface="Quicksand Light" pitchFamily="2" charset="0"/>
              </a:rPr>
              <a:t>Daniel Ferreira, 102885</a:t>
            </a:r>
          </a:p>
          <a:p>
            <a:r>
              <a:rPr lang="pt-PT" sz="2800" dirty="0">
                <a:latin typeface="Quicksand Light" pitchFamily="2" charset="0"/>
              </a:rPr>
              <a:t>Afonso Azevedo, 104272</a:t>
            </a:r>
            <a:endParaRPr lang="en-US" sz="2800" dirty="0">
              <a:latin typeface="Quicksand Light" pitchFamily="2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C1E0F2A-046E-6910-EED9-86BFB2A5F76D}"/>
              </a:ext>
            </a:extLst>
          </p:cNvPr>
          <p:cNvSpPr txBox="1">
            <a:spLocks/>
          </p:cNvSpPr>
          <p:nvPr/>
        </p:nvSpPr>
        <p:spPr>
          <a:xfrm>
            <a:off x="1676400" y="3185462"/>
            <a:ext cx="9144000" cy="791875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2800" dirty="0">
                <a:latin typeface="Quicksand" pitchFamily="2" charset="0"/>
              </a:rPr>
              <a:t>LICENCIATURA EM ENGENHARIA INFORMÁTICA</a:t>
            </a:r>
          </a:p>
          <a:p>
            <a:r>
              <a:rPr lang="en-US" sz="2800" dirty="0">
                <a:latin typeface="Quicksand" pitchFamily="2" charset="0"/>
              </a:rPr>
              <a:t>PROJETO FINAL BASE DE DADO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20B301-EB2A-AD62-DCEA-110583447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966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836F88-EC9A-D018-6B47-A1479E096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b="1" dirty="0">
                <a:latin typeface="Quicksand" pitchFamily="2" charset="0"/>
              </a:rPr>
              <a:t>FASES </a:t>
            </a:r>
            <a:endParaRPr lang="en-US" b="1" dirty="0">
              <a:latin typeface="Quicksand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3671B3-B285-9ADC-9156-AC6D7F8691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718" y="1797916"/>
            <a:ext cx="11090564" cy="4256520"/>
          </a:xfrm>
        </p:spPr>
        <p:txBody>
          <a:bodyPr>
            <a:normAutofit/>
          </a:bodyPr>
          <a:lstStyle/>
          <a:p>
            <a:r>
              <a:rPr lang="pt-PT" sz="2400" dirty="0">
                <a:latin typeface="Quicksand" pitchFamily="2" charset="0"/>
              </a:rPr>
              <a:t>Análise de requisitos (Proposta do projeto)</a:t>
            </a:r>
          </a:p>
          <a:p>
            <a:endParaRPr lang="pt-PT" sz="2400" dirty="0">
              <a:latin typeface="Quicksand" pitchFamily="2" charset="0"/>
            </a:endParaRPr>
          </a:p>
          <a:p>
            <a:r>
              <a:rPr lang="pt-PT" sz="2400" dirty="0">
                <a:latin typeface="Quicksand" pitchFamily="2" charset="0"/>
              </a:rPr>
              <a:t>Desenvolvimento do desenho conceptual do sistema (Proposta do projeto)</a:t>
            </a:r>
          </a:p>
          <a:p>
            <a:pPr marL="0" indent="0">
              <a:buNone/>
            </a:pPr>
            <a:endParaRPr lang="pt-PT" sz="2400" dirty="0">
              <a:latin typeface="Quicksand" pitchFamily="2" charset="0"/>
            </a:endParaRPr>
          </a:p>
          <a:p>
            <a:r>
              <a:rPr lang="pt-PT" sz="2400" dirty="0">
                <a:latin typeface="Quicksand" pitchFamily="2" charset="0"/>
              </a:rPr>
              <a:t>Desenvolvimento dos </a:t>
            </a:r>
            <a:r>
              <a:rPr lang="pt-PT" sz="2400" dirty="0" err="1">
                <a:latin typeface="Quicksand" pitchFamily="2" charset="0"/>
              </a:rPr>
              <a:t>datasets</a:t>
            </a:r>
            <a:r>
              <a:rPr lang="pt-PT" sz="2400" dirty="0">
                <a:latin typeface="Quicksand" pitchFamily="2" charset="0"/>
              </a:rPr>
              <a:t> e geradores de records</a:t>
            </a:r>
          </a:p>
          <a:p>
            <a:endParaRPr lang="pt-PT" sz="2400" dirty="0">
              <a:latin typeface="Quicksand" pitchFamily="2" charset="0"/>
            </a:endParaRPr>
          </a:p>
          <a:p>
            <a:r>
              <a:rPr lang="pt-PT" sz="2400" dirty="0">
                <a:latin typeface="Quicksand" pitchFamily="2" charset="0"/>
              </a:rPr>
              <a:t>Desenvolvimento dos scripts SQL</a:t>
            </a:r>
          </a:p>
          <a:p>
            <a:pPr marL="0" indent="0">
              <a:buNone/>
            </a:pPr>
            <a:endParaRPr lang="pt-PT" sz="2400" dirty="0">
              <a:latin typeface="Quicksand" pitchFamily="2" charset="0"/>
            </a:endParaRPr>
          </a:p>
          <a:p>
            <a:r>
              <a:rPr lang="pt-PT" sz="2400" dirty="0">
                <a:latin typeface="Quicksand" pitchFamily="2" charset="0"/>
              </a:rPr>
              <a:t>Desenvolvimento dos </a:t>
            </a:r>
            <a:r>
              <a:rPr lang="pt-PT" sz="2400" dirty="0" err="1">
                <a:latin typeface="Quicksand" pitchFamily="2" charset="0"/>
              </a:rPr>
              <a:t>forms</a:t>
            </a:r>
            <a:r>
              <a:rPr lang="pt-PT" sz="2400" dirty="0">
                <a:latin typeface="Quicksand" pitchFamily="2" charset="0"/>
              </a:rPr>
              <a:t> (interface)</a:t>
            </a:r>
            <a:endParaRPr lang="en-US" sz="2400" dirty="0">
              <a:latin typeface="Quicksand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E1E4D2-A596-602D-B9CE-B32FB0B65C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7871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nline Media 3" title="DEMO PROJETO BD">
            <a:hlinkClick r:id="" action="ppaction://media"/>
            <a:extLst>
              <a:ext uri="{FF2B5EF4-FFF2-40B4-BE49-F238E27FC236}">
                <a16:creationId xmlns:a16="http://schemas.microsoft.com/office/drawing/2014/main" id="{D5E701B7-160F-A393-3C08-C17B1A536271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0" y="-15240"/>
            <a:ext cx="12192000" cy="687324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BFC7EE-66CD-A5E3-4F2B-021EE53E80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910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05CA05E-D1DC-D3E5-1F20-E4CF98E19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718" y="243249"/>
            <a:ext cx="10515600" cy="1325563"/>
          </a:xfrm>
        </p:spPr>
        <p:txBody>
          <a:bodyPr/>
          <a:lstStyle/>
          <a:p>
            <a:r>
              <a:rPr lang="pt-PT" b="1" dirty="0">
                <a:latin typeface="Quicksand" pitchFamily="2" charset="0"/>
              </a:rPr>
              <a:t>GERADORES DE RECORDS E NORMALIZAÇÃO</a:t>
            </a:r>
            <a:endParaRPr lang="en-US" b="1" dirty="0">
              <a:latin typeface="Quicksand" pitchFamily="2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1C4B21D-BD63-51CF-26C3-1DDF0C5468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982" y="1511453"/>
            <a:ext cx="6428509" cy="5103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5AF4-8D54-48A0-9A12-8ECAB82B8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09" y="1934842"/>
            <a:ext cx="4880264" cy="4256520"/>
          </a:xfrm>
        </p:spPr>
        <p:txBody>
          <a:bodyPr>
            <a:normAutofit/>
          </a:bodyPr>
          <a:lstStyle/>
          <a:p>
            <a:r>
              <a:rPr lang="pt-PT" sz="2400" dirty="0">
                <a:latin typeface="Quicksand" pitchFamily="2" charset="0"/>
              </a:rPr>
              <a:t>Feitos em </a:t>
            </a:r>
            <a:r>
              <a:rPr lang="pt-PT" sz="2400" dirty="0" err="1">
                <a:latin typeface="Quicksand" pitchFamily="2" charset="0"/>
              </a:rPr>
              <a:t>python</a:t>
            </a:r>
            <a:endParaRPr lang="pt-PT" sz="2400" dirty="0">
              <a:latin typeface="Quicksand" pitchFamily="2" charset="0"/>
            </a:endParaRPr>
          </a:p>
          <a:p>
            <a:endParaRPr lang="pt-PT" sz="2400" dirty="0">
              <a:latin typeface="Quicksand" pitchFamily="2" charset="0"/>
            </a:endParaRPr>
          </a:p>
          <a:p>
            <a:r>
              <a:rPr lang="pt-PT" sz="2400" dirty="0">
                <a:latin typeface="Quicksand" pitchFamily="2" charset="0"/>
              </a:rPr>
              <a:t>Utilizando o módulo </a:t>
            </a:r>
            <a:r>
              <a:rPr lang="pt-PT" sz="2400" dirty="0" err="1">
                <a:latin typeface="Quicksand" pitchFamily="2" charset="0"/>
              </a:rPr>
              <a:t>pyodbc</a:t>
            </a:r>
            <a:endParaRPr lang="pt-PT" sz="2400" dirty="0">
              <a:latin typeface="Quicksand" pitchFamily="2" charset="0"/>
            </a:endParaRPr>
          </a:p>
          <a:p>
            <a:endParaRPr lang="pt-PT" sz="2400" dirty="0">
              <a:latin typeface="Quicksand" pitchFamily="2" charset="0"/>
            </a:endParaRPr>
          </a:p>
          <a:p>
            <a:r>
              <a:rPr lang="pt-PT" sz="2400" dirty="0" err="1">
                <a:latin typeface="Quicksand" pitchFamily="2" charset="0"/>
              </a:rPr>
              <a:t>Opearando</a:t>
            </a:r>
            <a:r>
              <a:rPr lang="pt-PT" sz="2400" dirty="0">
                <a:latin typeface="Quicksand" pitchFamily="2" charset="0"/>
              </a:rPr>
              <a:t> com DQL and DML</a:t>
            </a:r>
          </a:p>
          <a:p>
            <a:endParaRPr lang="pt-PT" sz="2400" dirty="0">
              <a:latin typeface="Quicksand" pitchFamily="2" charset="0"/>
            </a:endParaRPr>
          </a:p>
          <a:p>
            <a:r>
              <a:rPr lang="pt-PT" sz="2400" dirty="0">
                <a:latin typeface="Quicksand" pitchFamily="2" charset="0"/>
              </a:rPr>
              <a:t>Estrutura da BD </a:t>
            </a:r>
            <a:r>
              <a:rPr lang="pt-PT" sz="2400" dirty="0" err="1">
                <a:latin typeface="Quicksand" pitchFamily="2" charset="0"/>
              </a:rPr>
              <a:t>refatorada</a:t>
            </a:r>
            <a:endParaRPr lang="pt-PT" sz="2400" dirty="0">
              <a:latin typeface="Quicksand" pitchFamily="2" charset="0"/>
            </a:endParaRPr>
          </a:p>
          <a:p>
            <a:pPr marL="0" indent="0">
              <a:buNone/>
            </a:pPr>
            <a:endParaRPr lang="en-US" sz="2400" dirty="0">
              <a:latin typeface="Quicksand" pitchFamily="2" charset="0"/>
            </a:endParaRPr>
          </a:p>
          <a:p>
            <a:pPr marL="0" indent="0">
              <a:buNone/>
            </a:pPr>
            <a:endParaRPr lang="pt-PT" sz="2400" dirty="0">
              <a:latin typeface="Quicksand" pitchFamily="2" charset="0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DA7925C-F777-7FDC-7990-85151D54A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8899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B6C6677-E9E1-19CF-AAAD-870EE16313FD}"/>
              </a:ext>
            </a:extLst>
          </p:cNvPr>
          <p:cNvSpPr txBox="1">
            <a:spLocks/>
          </p:cNvSpPr>
          <p:nvPr/>
        </p:nvSpPr>
        <p:spPr>
          <a:xfrm>
            <a:off x="367434" y="11855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b="1" dirty="0">
                <a:latin typeface="Quicksand" pitchFamily="2" charset="0"/>
              </a:rPr>
              <a:t>UDFS, PROCEDURES</a:t>
            </a:r>
            <a:endParaRPr lang="en-US" b="1" dirty="0">
              <a:latin typeface="Quicksand" pitchFamily="2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FE03875-AB66-021A-BFC5-B8509C9879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527" y="1253819"/>
            <a:ext cx="3228107" cy="5272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435E106A-4A97-2422-78EB-963242A0B9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168" y="1381776"/>
            <a:ext cx="5611611" cy="4966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A4FD0A-9FE4-CCFC-2D26-72BB7EC75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9515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B6C6677-E9E1-19CF-AAAD-870EE16313FD}"/>
              </a:ext>
            </a:extLst>
          </p:cNvPr>
          <p:cNvSpPr txBox="1">
            <a:spLocks/>
          </p:cNvSpPr>
          <p:nvPr/>
        </p:nvSpPr>
        <p:spPr>
          <a:xfrm>
            <a:off x="367434" y="11855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b="1" dirty="0">
                <a:latin typeface="Quicksand" pitchFamily="2" charset="0"/>
              </a:rPr>
              <a:t>TRIGGER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B484AC3-FC82-8483-1666-3F1F2F629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1713" y="1444121"/>
            <a:ext cx="8479847" cy="4845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9C8EFE-E1D4-0093-D057-CB78D67AA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3913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B6C6677-E9E1-19CF-AAAD-870EE16313FD}"/>
              </a:ext>
            </a:extLst>
          </p:cNvPr>
          <p:cNvSpPr txBox="1">
            <a:spLocks/>
          </p:cNvSpPr>
          <p:nvPr/>
        </p:nvSpPr>
        <p:spPr>
          <a:xfrm>
            <a:off x="367434" y="11855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b="1" dirty="0">
                <a:latin typeface="Quicksand" pitchFamily="2" charset="0"/>
              </a:rPr>
              <a:t>INDEXES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603B5C87-6AB3-4F80-341A-B1A6C39A04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272" y="1196686"/>
            <a:ext cx="8243455" cy="5386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D03342-5065-E611-BAA8-A2A40FD19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32860E-5423-43FF-AEBC-E6E98DB19F5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7361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1600D49_BAA5_4F11_B523_0823AE3B197F&quot;,&quot;SourceFullName&quot;:&quot;https://www.youtube.com/embed/aPymw0M-1Fs?feature=oembed&quot;,&quot;LastUpdate&quot;:&quot;2022-06-22 11:52 PM&quot;,&quot;UpdatedBy&quot;:&quot;danie&quot;,&quot;IsLinked&quot;:false,&quot;IsBrokenLink&quot;:false,&quot;Type&quot;:2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</TotalTime>
  <Words>93</Words>
  <Application>Microsoft Office PowerPoint</Application>
  <PresentationFormat>Ecrã Panorâmico</PresentationFormat>
  <Paragraphs>33</Paragraphs>
  <Slides>7</Slides>
  <Notes>0</Notes>
  <HiddenSlides>0</HiddenSlides>
  <MMClips>1</MMClips>
  <ScaleCrop>false</ScaleCrop>
  <HeadingPairs>
    <vt:vector size="6" baseType="variant">
      <vt:variant>
        <vt:lpstr>Tipos de letra usado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os diapositivo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Quicksand</vt:lpstr>
      <vt:lpstr>Quicksand Light</vt:lpstr>
      <vt:lpstr>Office Theme</vt:lpstr>
      <vt:lpstr>SISTEMA DE GESTÃO DE TORNEIOS E-SPORTS</vt:lpstr>
      <vt:lpstr>FASES </vt:lpstr>
      <vt:lpstr>Apresentação do PowerPoint</vt:lpstr>
      <vt:lpstr>GERADORES DE RECORDS E NORMALIZAÇÃO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STEMA DE GESTÃO DE TORNEIOS E-SPORTS</dc:title>
  <dc:creator>Daniel</dc:creator>
  <cp:lastModifiedBy>Leinad Nivalis</cp:lastModifiedBy>
  <cp:revision>3</cp:revision>
  <dcterms:created xsi:type="dcterms:W3CDTF">2022-06-22T21:47:03Z</dcterms:created>
  <dcterms:modified xsi:type="dcterms:W3CDTF">2022-06-23T15:18:59Z</dcterms:modified>
</cp:coreProperties>
</file>